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915988"/>
            <a:ext cx="4505325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0891" y="4556490"/>
            <a:ext cx="5935893" cy="46256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41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14931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2750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315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613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9274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26983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28310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39285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45845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5968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7100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560745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70911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340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85902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67342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5342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6050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8563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94387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9720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320071C-4B30-48CE-AE9A-CCC65538404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9318524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294"/>
            <a:ext cx="7991475" cy="4017588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30540" cy="1446550"/>
          </a:xfrm>
        </p:spPr>
        <p:txBody>
          <a:bodyPr/>
          <a:lstStyle/>
          <a:p>
            <a:r>
              <a:rPr lang="en-US" sz="3200" dirty="0"/>
              <a:t>Update obsolete HMI with Siemens TP700</a:t>
            </a:r>
            <a:br>
              <a:rPr lang="en-US" sz="3200" i="1" dirty="0"/>
            </a:b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964"/>
            <a:ext cx="7997825" cy="307975"/>
          </a:xfrm>
        </p:spPr>
        <p:txBody>
          <a:bodyPr/>
          <a:lstStyle/>
          <a:p>
            <a:r>
              <a:rPr lang="en-US" dirty="0"/>
              <a:t>New display panel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Obsolescence</a:t>
            </a:r>
          </a:p>
          <a:p>
            <a:r>
              <a:rPr lang="en-US" sz="800" kern="0" dirty="0"/>
              <a:t>Equipment: Packing </a:t>
            </a:r>
            <a:r>
              <a:rPr lang="en-US" sz="800" kern="0" dirty="0" err="1"/>
              <a:t>Corcelles</a:t>
            </a:r>
            <a:endParaRPr lang="en-US" sz="800" kern="0" dirty="0"/>
          </a:p>
          <a:p>
            <a:r>
              <a:rPr lang="en-US" sz="800" kern="0" dirty="0"/>
              <a:t>Catalogue code: CLC-00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Productiv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ecures the machin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Always up to dat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Latest generation material and available spare parts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Ergonomics optimization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dditional new functions available as an o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dirty="0"/>
              <a:t>Replacement and installation to latest generation units with the same functionalities as the existing system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D085F9A7-5CCF-465C-B116-152A426F8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50" y="4216966"/>
            <a:ext cx="1523334" cy="15299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7E6E6"/>
                  </a:outerShdw>
                </a:effectLst>
              </a14:hiddenEffects>
            </a:ext>
          </a:extLst>
        </p:spPr>
      </p:pic>
      <p:pic>
        <p:nvPicPr>
          <p:cNvPr id="17" name="Picture 25" descr="IMG_1647">
            <a:extLst>
              <a:ext uri="{FF2B5EF4-FFF2-40B4-BE49-F238E27FC236}">
                <a16:creationId xmlns:a16="http://schemas.microsoft.com/office/drawing/2014/main" id="{AAB9E0F5-8103-4470-BEBA-EE3CC7EE8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90"/>
          <a:stretch>
            <a:fillRect/>
          </a:stretch>
        </p:blipFill>
        <p:spPr bwMode="auto">
          <a:xfrm>
            <a:off x="5031656" y="4216966"/>
            <a:ext cx="1627935" cy="153249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512008" y="3934811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Before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415402" y="3934810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  <a:ea typeface="MS PGothic" pitchFamily="34" charset="-128"/>
              </a:rPr>
              <a:t>After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66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Update obsolete HMI with Siemens TP700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7</cp:revision>
  <cp:lastPrinted>2018-03-12T16:26:21Z</cp:lastPrinted>
  <dcterms:created xsi:type="dcterms:W3CDTF">2018-01-25T16:00:18Z</dcterms:created>
  <dcterms:modified xsi:type="dcterms:W3CDTF">2020-06-22T14:2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6-22T14:21:36.1791337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2T17:11:26.8219868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2T17:11:26.8219868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